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720" userDrawn="1">
          <p15:clr>
            <a:srgbClr val="A4A3A4"/>
          </p15:clr>
        </p15:guide>
        <p15:guide id="3" pos="7584"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11" orient="horz" pos="960" userDrawn="1">
          <p15:clr>
            <a:srgbClr val="A4A3A4"/>
          </p15:clr>
        </p15:guide>
        <p15:guide id="12" orient="horz" pos="3672" userDrawn="1">
          <p15:clr>
            <a:srgbClr val="A4A3A4"/>
          </p15:clr>
        </p15:guide>
        <p15:guide id="13" orient="horz" pos="400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02CD55-DD27-4CA2-9419-8DB94F773A1B}" v="83" dt="2023-03-05T13:48:55.57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555" y="48"/>
      </p:cViewPr>
      <p:guideLst>
        <p:guide orient="horz" pos="648"/>
        <p:guide pos="3720"/>
        <p:guide pos="7584"/>
        <p:guide pos="96"/>
        <p:guide pos="2856"/>
        <p:guide pos="576"/>
        <p:guide orient="horz" pos="960"/>
        <p:guide orient="horz" pos="3672"/>
        <p:guide orient="horz" pos="400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0D02CD55-DD27-4CA2-9419-8DB94F773A1B}"/>
    <pc:docChg chg="custSel addSld delSld modSld">
      <pc:chgData name="Roberto Gallardo" userId="49a044883f185952" providerId="LiveId" clId="{0D02CD55-DD27-4CA2-9419-8DB94F773A1B}" dt="2023-03-05T13:49:04.877" v="331" actId="1076"/>
      <pc:docMkLst>
        <pc:docMk/>
      </pc:docMkLst>
      <pc:sldChg chg="del">
        <pc:chgData name="Roberto Gallardo" userId="49a044883f185952" providerId="LiveId" clId="{0D02CD55-DD27-4CA2-9419-8DB94F773A1B}" dt="2023-02-25T14:49:07.827" v="138" actId="47"/>
        <pc:sldMkLst>
          <pc:docMk/>
          <pc:sldMk cId="1175010214" sldId="261"/>
        </pc:sldMkLst>
      </pc:sldChg>
      <pc:sldChg chg="addSp delSp modSp mod">
        <pc:chgData name="Roberto Gallardo" userId="49a044883f185952" providerId="LiveId" clId="{0D02CD55-DD27-4CA2-9419-8DB94F773A1B}" dt="2023-03-05T13:41:13.172" v="165" actId="1076"/>
        <pc:sldMkLst>
          <pc:docMk/>
          <pc:sldMk cId="1418533539" sldId="271"/>
        </pc:sldMkLst>
        <pc:picChg chg="add del mod">
          <ac:chgData name="Roberto Gallardo" userId="49a044883f185952" providerId="LiveId" clId="{0D02CD55-DD27-4CA2-9419-8DB94F773A1B}" dt="2023-03-05T13:28:37.279" v="139" actId="478"/>
          <ac:picMkLst>
            <pc:docMk/>
            <pc:sldMk cId="1418533539" sldId="271"/>
            <ac:picMk id="5" creationId="{7E059B7F-9516-F3F1-2EB2-54ECA3B48A9D}"/>
          </ac:picMkLst>
        </pc:picChg>
        <pc:picChg chg="add mod">
          <ac:chgData name="Roberto Gallardo" userId="49a044883f185952" providerId="LiveId" clId="{0D02CD55-DD27-4CA2-9419-8DB94F773A1B}" dt="2023-03-05T13:41:13.172" v="165" actId="1076"/>
          <ac:picMkLst>
            <pc:docMk/>
            <pc:sldMk cId="1418533539" sldId="271"/>
            <ac:picMk id="6" creationId="{B645CE68-277F-5B1B-95F6-43081900D696}"/>
          </ac:picMkLst>
        </pc:picChg>
      </pc:sldChg>
      <pc:sldChg chg="addSp delSp modSp mod">
        <pc:chgData name="Roberto Gallardo" userId="49a044883f185952" providerId="LiveId" clId="{0D02CD55-DD27-4CA2-9419-8DB94F773A1B}" dt="2023-03-05T13:44:53.284" v="223" actId="14100"/>
        <pc:sldMkLst>
          <pc:docMk/>
          <pc:sldMk cId="2124848710" sldId="281"/>
        </pc:sldMkLst>
        <pc:spChg chg="mod">
          <ac:chgData name="Roberto Gallardo" userId="49a044883f185952" providerId="LiveId" clId="{0D02CD55-DD27-4CA2-9419-8DB94F773A1B}" dt="2023-02-24T19:04:42.436" v="52" actId="1076"/>
          <ac:spMkLst>
            <pc:docMk/>
            <pc:sldMk cId="2124848710" sldId="281"/>
            <ac:spMk id="7" creationId="{51811D46-3545-CBB8-9C35-BAFF095496AA}"/>
          </ac:spMkLst>
        </pc:spChg>
        <pc:picChg chg="add del mod">
          <ac:chgData name="Roberto Gallardo" userId="49a044883f185952" providerId="LiveId" clId="{0D02CD55-DD27-4CA2-9419-8DB94F773A1B}" dt="2023-03-05T13:28:50.099" v="146" actId="478"/>
          <ac:picMkLst>
            <pc:docMk/>
            <pc:sldMk cId="2124848710" sldId="281"/>
            <ac:picMk id="6" creationId="{3731A4E5-576E-4E5B-7DC3-3C9EDDC59F43}"/>
          </ac:picMkLst>
        </pc:picChg>
        <pc:picChg chg="add mod">
          <ac:chgData name="Roberto Gallardo" userId="49a044883f185952" providerId="LiveId" clId="{0D02CD55-DD27-4CA2-9419-8DB94F773A1B}" dt="2023-03-05T13:44:53.284" v="223" actId="14100"/>
          <ac:picMkLst>
            <pc:docMk/>
            <pc:sldMk cId="2124848710" sldId="281"/>
            <ac:picMk id="6" creationId="{58CEA97C-9212-1545-BC89-E00B607A4A2D}"/>
          </ac:picMkLst>
        </pc:picChg>
      </pc:sldChg>
      <pc:sldChg chg="addSp delSp modSp mod">
        <pc:chgData name="Roberto Gallardo" userId="49a044883f185952" providerId="LiveId" clId="{0D02CD55-DD27-4CA2-9419-8DB94F773A1B}" dt="2023-03-05T13:45:12.739" v="232" actId="14100"/>
        <pc:sldMkLst>
          <pc:docMk/>
          <pc:sldMk cId="2028175529" sldId="282"/>
        </pc:sldMkLst>
        <pc:spChg chg="mod">
          <ac:chgData name="Roberto Gallardo" userId="49a044883f185952" providerId="LiveId" clId="{0D02CD55-DD27-4CA2-9419-8DB94F773A1B}" dt="2023-02-24T19:04:46.803" v="53" actId="1076"/>
          <ac:spMkLst>
            <pc:docMk/>
            <pc:sldMk cId="2028175529" sldId="282"/>
            <ac:spMk id="7" creationId="{51811D46-3545-CBB8-9C35-BAFF095496AA}"/>
          </ac:spMkLst>
        </pc:spChg>
        <pc:picChg chg="add mod">
          <ac:chgData name="Roberto Gallardo" userId="49a044883f185952" providerId="LiveId" clId="{0D02CD55-DD27-4CA2-9419-8DB94F773A1B}" dt="2023-03-05T13:45:12.739" v="232" actId="14100"/>
          <ac:picMkLst>
            <pc:docMk/>
            <pc:sldMk cId="2028175529" sldId="282"/>
            <ac:picMk id="6" creationId="{9B582F32-CDF4-C1BF-082B-5DE6D8351067}"/>
          </ac:picMkLst>
        </pc:picChg>
        <pc:picChg chg="add del mod">
          <ac:chgData name="Roberto Gallardo" userId="49a044883f185952" providerId="LiveId" clId="{0D02CD55-DD27-4CA2-9419-8DB94F773A1B}" dt="2023-03-05T13:28:52.005" v="147" actId="478"/>
          <ac:picMkLst>
            <pc:docMk/>
            <pc:sldMk cId="2028175529" sldId="282"/>
            <ac:picMk id="6" creationId="{F6EC969B-B5E5-F8EA-690A-AE1A768C6F2A}"/>
          </ac:picMkLst>
        </pc:picChg>
      </pc:sldChg>
      <pc:sldChg chg="addSp delSp modSp mod">
        <pc:chgData name="Roberto Gallardo" userId="49a044883f185952" providerId="LiveId" clId="{0D02CD55-DD27-4CA2-9419-8DB94F773A1B}" dt="2023-03-05T13:45:31.232" v="242" actId="14100"/>
        <pc:sldMkLst>
          <pc:docMk/>
          <pc:sldMk cId="1326517747" sldId="283"/>
        </pc:sldMkLst>
        <pc:spChg chg="mod">
          <ac:chgData name="Roberto Gallardo" userId="49a044883f185952" providerId="LiveId" clId="{0D02CD55-DD27-4CA2-9419-8DB94F773A1B}" dt="2023-02-24T19:04:54.251" v="54" actId="1076"/>
          <ac:spMkLst>
            <pc:docMk/>
            <pc:sldMk cId="1326517747" sldId="283"/>
            <ac:spMk id="7" creationId="{51811D46-3545-CBB8-9C35-BAFF095496AA}"/>
          </ac:spMkLst>
        </pc:spChg>
        <pc:picChg chg="add del mod">
          <ac:chgData name="Roberto Gallardo" userId="49a044883f185952" providerId="LiveId" clId="{0D02CD55-DD27-4CA2-9419-8DB94F773A1B}" dt="2023-03-05T13:28:54.102" v="148" actId="478"/>
          <ac:picMkLst>
            <pc:docMk/>
            <pc:sldMk cId="1326517747" sldId="283"/>
            <ac:picMk id="6" creationId="{B86230A9-5D70-52FF-2699-BB567A62D483}"/>
          </ac:picMkLst>
        </pc:picChg>
        <pc:picChg chg="add mod">
          <ac:chgData name="Roberto Gallardo" userId="49a044883f185952" providerId="LiveId" clId="{0D02CD55-DD27-4CA2-9419-8DB94F773A1B}" dt="2023-03-05T13:45:31.232" v="242" actId="14100"/>
          <ac:picMkLst>
            <pc:docMk/>
            <pc:sldMk cId="1326517747" sldId="283"/>
            <ac:picMk id="6" creationId="{D948D4BD-837F-EC35-C09F-64542DA13F60}"/>
          </ac:picMkLst>
        </pc:picChg>
      </pc:sldChg>
      <pc:sldChg chg="addSp delSp modSp mod">
        <pc:chgData name="Roberto Gallardo" userId="49a044883f185952" providerId="LiveId" clId="{0D02CD55-DD27-4CA2-9419-8DB94F773A1B}" dt="2023-03-05T13:45:50.659" v="250" actId="14100"/>
        <pc:sldMkLst>
          <pc:docMk/>
          <pc:sldMk cId="783739251" sldId="284"/>
        </pc:sldMkLst>
        <pc:spChg chg="add mod">
          <ac:chgData name="Roberto Gallardo" userId="49a044883f185952" providerId="LiveId" clId="{0D02CD55-DD27-4CA2-9419-8DB94F773A1B}" dt="2023-02-24T19:05:27.028" v="60"/>
          <ac:spMkLst>
            <pc:docMk/>
            <pc:sldMk cId="783739251" sldId="284"/>
            <ac:spMk id="6" creationId="{CB69BD2A-F147-EC7A-5F1C-DB19F3F8A2AC}"/>
          </ac:spMkLst>
        </pc:spChg>
        <pc:spChg chg="del">
          <ac:chgData name="Roberto Gallardo" userId="49a044883f185952" providerId="LiveId" clId="{0D02CD55-DD27-4CA2-9419-8DB94F773A1B}" dt="2023-02-24T19:05:21.452" v="59" actId="478"/>
          <ac:spMkLst>
            <pc:docMk/>
            <pc:sldMk cId="783739251" sldId="284"/>
            <ac:spMk id="7" creationId="{51811D46-3545-CBB8-9C35-BAFF095496AA}"/>
          </ac:spMkLst>
        </pc:spChg>
        <pc:picChg chg="add mod">
          <ac:chgData name="Roberto Gallardo" userId="49a044883f185952" providerId="LiveId" clId="{0D02CD55-DD27-4CA2-9419-8DB94F773A1B}" dt="2023-03-05T13:45:50.659" v="250" actId="14100"/>
          <ac:picMkLst>
            <pc:docMk/>
            <pc:sldMk cId="783739251" sldId="284"/>
            <ac:picMk id="7" creationId="{14281970-372C-126E-3A3B-B5C825F6899B}"/>
          </ac:picMkLst>
        </pc:picChg>
        <pc:picChg chg="add del mod">
          <ac:chgData name="Roberto Gallardo" userId="49a044883f185952" providerId="LiveId" clId="{0D02CD55-DD27-4CA2-9419-8DB94F773A1B}" dt="2023-03-05T13:28:55.546" v="149" actId="478"/>
          <ac:picMkLst>
            <pc:docMk/>
            <pc:sldMk cId="783739251" sldId="284"/>
            <ac:picMk id="8" creationId="{6D659AFD-0C10-1AC2-2492-EFA177DD4011}"/>
          </ac:picMkLst>
        </pc:picChg>
      </pc:sldChg>
      <pc:sldChg chg="addSp delSp modSp mod">
        <pc:chgData name="Roberto Gallardo" userId="49a044883f185952" providerId="LiveId" clId="{0D02CD55-DD27-4CA2-9419-8DB94F773A1B}" dt="2023-03-05T13:46:09.406" v="258" actId="14100"/>
        <pc:sldMkLst>
          <pc:docMk/>
          <pc:sldMk cId="1676122233" sldId="285"/>
        </pc:sldMkLst>
        <pc:spChg chg="del">
          <ac:chgData name="Roberto Gallardo" userId="49a044883f185952" providerId="LiveId" clId="{0D02CD55-DD27-4CA2-9419-8DB94F773A1B}" dt="2023-02-24T19:06:12.032" v="69" actId="478"/>
          <ac:spMkLst>
            <pc:docMk/>
            <pc:sldMk cId="1676122233" sldId="285"/>
            <ac:spMk id="7" creationId="{51811D46-3545-CBB8-9C35-BAFF095496AA}"/>
          </ac:spMkLst>
        </pc:spChg>
        <pc:spChg chg="add mod">
          <ac:chgData name="Roberto Gallardo" userId="49a044883f185952" providerId="LiveId" clId="{0D02CD55-DD27-4CA2-9419-8DB94F773A1B}" dt="2023-02-24T19:06:12.478" v="70"/>
          <ac:spMkLst>
            <pc:docMk/>
            <pc:sldMk cId="1676122233" sldId="285"/>
            <ac:spMk id="8" creationId="{3102CA60-702B-ACD2-D04B-0E51A35186D7}"/>
          </ac:spMkLst>
        </pc:spChg>
        <pc:picChg chg="add mod">
          <ac:chgData name="Roberto Gallardo" userId="49a044883f185952" providerId="LiveId" clId="{0D02CD55-DD27-4CA2-9419-8DB94F773A1B}" dt="2023-03-05T13:46:09.406" v="258" actId="14100"/>
          <ac:picMkLst>
            <pc:docMk/>
            <pc:sldMk cId="1676122233" sldId="285"/>
            <ac:picMk id="6" creationId="{5AFD46F4-2375-AA99-28C6-9A6B0E2C6E62}"/>
          </ac:picMkLst>
        </pc:picChg>
        <pc:picChg chg="add del mod">
          <ac:chgData name="Roberto Gallardo" userId="49a044883f185952" providerId="LiveId" clId="{0D02CD55-DD27-4CA2-9419-8DB94F773A1B}" dt="2023-03-05T13:28:57.624" v="150" actId="478"/>
          <ac:picMkLst>
            <pc:docMk/>
            <pc:sldMk cId="1676122233" sldId="285"/>
            <ac:picMk id="6" creationId="{A5869B7C-5C0D-2EEA-040A-4B62A73A064A}"/>
          </ac:picMkLst>
        </pc:picChg>
      </pc:sldChg>
      <pc:sldChg chg="addSp delSp modSp mod">
        <pc:chgData name="Roberto Gallardo" userId="49a044883f185952" providerId="LiveId" clId="{0D02CD55-DD27-4CA2-9419-8DB94F773A1B}" dt="2023-03-05T13:46:31.280" v="266" actId="14100"/>
        <pc:sldMkLst>
          <pc:docMk/>
          <pc:sldMk cId="3100398757" sldId="286"/>
        </pc:sldMkLst>
        <pc:spChg chg="del">
          <ac:chgData name="Roberto Gallardo" userId="49a044883f185952" providerId="LiveId" clId="{0D02CD55-DD27-4CA2-9419-8DB94F773A1B}" dt="2023-02-24T19:06:48.717" v="75" actId="478"/>
          <ac:spMkLst>
            <pc:docMk/>
            <pc:sldMk cId="3100398757" sldId="286"/>
            <ac:spMk id="7" creationId="{51811D46-3545-CBB8-9C35-BAFF095496AA}"/>
          </ac:spMkLst>
        </pc:spChg>
        <pc:spChg chg="add mod">
          <ac:chgData name="Roberto Gallardo" userId="49a044883f185952" providerId="LiveId" clId="{0D02CD55-DD27-4CA2-9419-8DB94F773A1B}" dt="2023-02-24T19:06:53.876" v="78"/>
          <ac:spMkLst>
            <pc:docMk/>
            <pc:sldMk cId="3100398757" sldId="286"/>
            <ac:spMk id="8" creationId="{9D0EBD86-93C9-931C-E79F-B71224937E0A}"/>
          </ac:spMkLst>
        </pc:spChg>
        <pc:picChg chg="add del mod">
          <ac:chgData name="Roberto Gallardo" userId="49a044883f185952" providerId="LiveId" clId="{0D02CD55-DD27-4CA2-9419-8DB94F773A1B}" dt="2023-03-05T13:28:59.335" v="151" actId="478"/>
          <ac:picMkLst>
            <pc:docMk/>
            <pc:sldMk cId="3100398757" sldId="286"/>
            <ac:picMk id="6" creationId="{30458D9C-7BC1-3F92-FBFB-B0F00BC4E151}"/>
          </ac:picMkLst>
        </pc:picChg>
        <pc:picChg chg="add mod">
          <ac:chgData name="Roberto Gallardo" userId="49a044883f185952" providerId="LiveId" clId="{0D02CD55-DD27-4CA2-9419-8DB94F773A1B}" dt="2023-03-05T13:46:31.280" v="266" actId="14100"/>
          <ac:picMkLst>
            <pc:docMk/>
            <pc:sldMk cId="3100398757" sldId="286"/>
            <ac:picMk id="6" creationId="{6DBDECE0-3314-34E6-9464-B64A7EBC65C4}"/>
          </ac:picMkLst>
        </pc:picChg>
      </pc:sldChg>
      <pc:sldChg chg="addSp delSp modSp mod">
        <pc:chgData name="Roberto Gallardo" userId="49a044883f185952" providerId="LiveId" clId="{0D02CD55-DD27-4CA2-9419-8DB94F773A1B}" dt="2023-03-05T13:46:53.415" v="273" actId="14100"/>
        <pc:sldMkLst>
          <pc:docMk/>
          <pc:sldMk cId="1546475425" sldId="287"/>
        </pc:sldMkLst>
        <pc:spChg chg="add mod">
          <ac:chgData name="Roberto Gallardo" userId="49a044883f185952" providerId="LiveId" clId="{0D02CD55-DD27-4CA2-9419-8DB94F773A1B}" dt="2023-02-24T19:06:52.153" v="77"/>
          <ac:spMkLst>
            <pc:docMk/>
            <pc:sldMk cId="1546475425" sldId="287"/>
            <ac:spMk id="6" creationId="{63FE4D66-9166-3DD6-0B0D-691DAE36061F}"/>
          </ac:spMkLst>
        </pc:spChg>
        <pc:spChg chg="del">
          <ac:chgData name="Roberto Gallardo" userId="49a044883f185952" providerId="LiveId" clId="{0D02CD55-DD27-4CA2-9419-8DB94F773A1B}" dt="2023-02-24T19:06:51.825" v="76" actId="478"/>
          <ac:spMkLst>
            <pc:docMk/>
            <pc:sldMk cId="1546475425" sldId="287"/>
            <ac:spMk id="7" creationId="{51811D46-3545-CBB8-9C35-BAFF095496AA}"/>
          </ac:spMkLst>
        </pc:spChg>
        <pc:picChg chg="add mod">
          <ac:chgData name="Roberto Gallardo" userId="49a044883f185952" providerId="LiveId" clId="{0D02CD55-DD27-4CA2-9419-8DB94F773A1B}" dt="2023-03-05T13:46:53.415" v="273" actId="14100"/>
          <ac:picMkLst>
            <pc:docMk/>
            <pc:sldMk cId="1546475425" sldId="287"/>
            <ac:picMk id="7" creationId="{600274F6-9A81-3024-AF41-2411E415E77A}"/>
          </ac:picMkLst>
        </pc:picChg>
        <pc:picChg chg="add del mod">
          <ac:chgData name="Roberto Gallardo" userId="49a044883f185952" providerId="LiveId" clId="{0D02CD55-DD27-4CA2-9419-8DB94F773A1B}" dt="2023-03-05T13:29:01.164" v="152" actId="478"/>
          <ac:picMkLst>
            <pc:docMk/>
            <pc:sldMk cId="1546475425" sldId="287"/>
            <ac:picMk id="8" creationId="{26B07625-3ED1-85B0-A91F-12ECC3B28236}"/>
          </ac:picMkLst>
        </pc:picChg>
      </pc:sldChg>
      <pc:sldChg chg="addSp delSp modSp mod">
        <pc:chgData name="Roberto Gallardo" userId="49a044883f185952" providerId="LiveId" clId="{0D02CD55-DD27-4CA2-9419-8DB94F773A1B}" dt="2023-03-05T13:47:42.111" v="293" actId="14100"/>
        <pc:sldMkLst>
          <pc:docMk/>
          <pc:sldMk cId="1380517306" sldId="288"/>
        </pc:sldMkLst>
        <pc:spChg chg="add mod">
          <ac:chgData name="Roberto Gallardo" userId="49a044883f185952" providerId="LiveId" clId="{0D02CD55-DD27-4CA2-9419-8DB94F773A1B}" dt="2023-02-24T19:07:03.497" v="82"/>
          <ac:spMkLst>
            <pc:docMk/>
            <pc:sldMk cId="1380517306" sldId="288"/>
            <ac:spMk id="6" creationId="{9A25A973-CC2E-AB4B-13D3-B0D863C9D1D6}"/>
          </ac:spMkLst>
        </pc:spChg>
        <pc:spChg chg="del">
          <ac:chgData name="Roberto Gallardo" userId="49a044883f185952" providerId="LiveId" clId="{0D02CD55-DD27-4CA2-9419-8DB94F773A1B}" dt="2023-02-24T19:07:03.100" v="81" actId="478"/>
          <ac:spMkLst>
            <pc:docMk/>
            <pc:sldMk cId="1380517306" sldId="288"/>
            <ac:spMk id="7" creationId="{51811D46-3545-CBB8-9C35-BAFF095496AA}"/>
          </ac:spMkLst>
        </pc:spChg>
        <pc:picChg chg="add mod ord">
          <ac:chgData name="Roberto Gallardo" userId="49a044883f185952" providerId="LiveId" clId="{0D02CD55-DD27-4CA2-9419-8DB94F773A1B}" dt="2023-03-05T13:47:42.111" v="293" actId="14100"/>
          <ac:picMkLst>
            <pc:docMk/>
            <pc:sldMk cId="1380517306" sldId="288"/>
            <ac:picMk id="7" creationId="{4A47BE73-428A-0492-E2CA-FAD71421C19E}"/>
          </ac:picMkLst>
        </pc:picChg>
        <pc:picChg chg="add del mod">
          <ac:chgData name="Roberto Gallardo" userId="49a044883f185952" providerId="LiveId" clId="{0D02CD55-DD27-4CA2-9419-8DB94F773A1B}" dt="2023-03-05T13:29:04.884" v="154" actId="478"/>
          <ac:picMkLst>
            <pc:docMk/>
            <pc:sldMk cId="1380517306" sldId="288"/>
            <ac:picMk id="8" creationId="{9DBB59AC-126F-B467-1560-1AEA55BE7CB7}"/>
          </ac:picMkLst>
        </pc:picChg>
      </pc:sldChg>
      <pc:sldChg chg="addSp delSp modSp mod">
        <pc:chgData name="Roberto Gallardo" userId="49a044883f185952" providerId="LiveId" clId="{0D02CD55-DD27-4CA2-9419-8DB94F773A1B}" dt="2023-03-05T13:48:06.902" v="302" actId="14100"/>
        <pc:sldMkLst>
          <pc:docMk/>
          <pc:sldMk cId="1388671151" sldId="289"/>
        </pc:sldMkLst>
        <pc:spChg chg="add mod">
          <ac:chgData name="Roberto Gallardo" userId="49a044883f185952" providerId="LiveId" clId="{0D02CD55-DD27-4CA2-9419-8DB94F773A1B}" dt="2023-02-24T19:07:08.016" v="84"/>
          <ac:spMkLst>
            <pc:docMk/>
            <pc:sldMk cId="1388671151" sldId="289"/>
            <ac:spMk id="6" creationId="{BDD49F7D-AE72-CDC1-D73A-C0BC0676F55F}"/>
          </ac:spMkLst>
        </pc:spChg>
        <pc:spChg chg="del">
          <ac:chgData name="Roberto Gallardo" userId="49a044883f185952" providerId="LiveId" clId="{0D02CD55-DD27-4CA2-9419-8DB94F773A1B}" dt="2023-02-24T19:07:07.609" v="83" actId="478"/>
          <ac:spMkLst>
            <pc:docMk/>
            <pc:sldMk cId="1388671151" sldId="289"/>
            <ac:spMk id="7" creationId="{51811D46-3545-CBB8-9C35-BAFF095496AA}"/>
          </ac:spMkLst>
        </pc:spChg>
        <pc:picChg chg="add mod">
          <ac:chgData name="Roberto Gallardo" userId="49a044883f185952" providerId="LiveId" clId="{0D02CD55-DD27-4CA2-9419-8DB94F773A1B}" dt="2023-03-05T13:48:06.902" v="302" actId="14100"/>
          <ac:picMkLst>
            <pc:docMk/>
            <pc:sldMk cId="1388671151" sldId="289"/>
            <ac:picMk id="7" creationId="{71868911-4E8C-F369-92E4-0B6BBC343BAE}"/>
          </ac:picMkLst>
        </pc:picChg>
        <pc:picChg chg="add del mod">
          <ac:chgData name="Roberto Gallardo" userId="49a044883f185952" providerId="LiveId" clId="{0D02CD55-DD27-4CA2-9419-8DB94F773A1B}" dt="2023-03-05T13:29:06.997" v="155" actId="478"/>
          <ac:picMkLst>
            <pc:docMk/>
            <pc:sldMk cId="1388671151" sldId="289"/>
            <ac:picMk id="8" creationId="{4CF2DF65-4FB1-FC0C-24B5-E7DA23B237B7}"/>
          </ac:picMkLst>
        </pc:picChg>
      </pc:sldChg>
      <pc:sldChg chg="addSp delSp modSp mod">
        <pc:chgData name="Roberto Gallardo" userId="49a044883f185952" providerId="LiveId" clId="{0D02CD55-DD27-4CA2-9419-8DB94F773A1B}" dt="2023-03-05T13:48:46.806" v="322" actId="14100"/>
        <pc:sldMkLst>
          <pc:docMk/>
          <pc:sldMk cId="2355376039" sldId="290"/>
        </pc:sldMkLst>
        <pc:spChg chg="mod">
          <ac:chgData name="Roberto Gallardo" userId="49a044883f185952" providerId="LiveId" clId="{0D02CD55-DD27-4CA2-9419-8DB94F773A1B}" dt="2023-02-24T19:07:48.274" v="92" actId="1076"/>
          <ac:spMkLst>
            <pc:docMk/>
            <pc:sldMk cId="2355376039" sldId="290"/>
            <ac:spMk id="5" creationId="{AD271B2F-57B1-DDF3-844C-402D53D67F69}"/>
          </ac:spMkLst>
        </pc:spChg>
        <pc:picChg chg="add mod">
          <ac:chgData name="Roberto Gallardo" userId="49a044883f185952" providerId="LiveId" clId="{0D02CD55-DD27-4CA2-9419-8DB94F773A1B}" dt="2023-03-05T13:48:46.806" v="322" actId="14100"/>
          <ac:picMkLst>
            <pc:docMk/>
            <pc:sldMk cId="2355376039" sldId="290"/>
            <ac:picMk id="8" creationId="{3208DB1A-4C93-5F29-7473-2B38FE81B6B6}"/>
          </ac:picMkLst>
        </pc:picChg>
        <pc:picChg chg="add del mod">
          <ac:chgData name="Roberto Gallardo" userId="49a044883f185952" providerId="LiveId" clId="{0D02CD55-DD27-4CA2-9419-8DB94F773A1B}" dt="2023-03-05T13:29:11.181" v="157" actId="478"/>
          <ac:picMkLst>
            <pc:docMk/>
            <pc:sldMk cId="2355376039" sldId="290"/>
            <ac:picMk id="8" creationId="{655823DC-F7ED-EE39-2AE9-EE45F7ABA0B4}"/>
          </ac:picMkLst>
        </pc:picChg>
      </pc:sldChg>
      <pc:sldChg chg="addSp delSp modSp mod">
        <pc:chgData name="Roberto Gallardo" userId="49a044883f185952" providerId="LiveId" clId="{0D02CD55-DD27-4CA2-9419-8DB94F773A1B}" dt="2023-03-05T13:49:04.877" v="331" actId="1076"/>
        <pc:sldMkLst>
          <pc:docMk/>
          <pc:sldMk cId="3757257295" sldId="291"/>
        </pc:sldMkLst>
        <pc:spChg chg="mod">
          <ac:chgData name="Roberto Gallardo" userId="49a044883f185952" providerId="LiveId" clId="{0D02CD55-DD27-4CA2-9419-8DB94F773A1B}" dt="2023-02-24T19:07:57.419" v="93" actId="1076"/>
          <ac:spMkLst>
            <pc:docMk/>
            <pc:sldMk cId="3757257295" sldId="291"/>
            <ac:spMk id="9" creationId="{7186EF87-E728-D13E-4ADB-699D1D4C3197}"/>
          </ac:spMkLst>
        </pc:spChg>
        <pc:picChg chg="add mod">
          <ac:chgData name="Roberto Gallardo" userId="49a044883f185952" providerId="LiveId" clId="{0D02CD55-DD27-4CA2-9419-8DB94F773A1B}" dt="2023-03-05T13:49:04.877" v="331" actId="1076"/>
          <ac:picMkLst>
            <pc:docMk/>
            <pc:sldMk cId="3757257295" sldId="291"/>
            <ac:picMk id="7" creationId="{3C3AE6AC-5BD0-DAE5-DA9E-0BC34FA75289}"/>
          </ac:picMkLst>
        </pc:picChg>
        <pc:picChg chg="add del mod">
          <ac:chgData name="Roberto Gallardo" userId="49a044883f185952" providerId="LiveId" clId="{0D02CD55-DD27-4CA2-9419-8DB94F773A1B}" dt="2023-03-05T13:29:12.840" v="158" actId="478"/>
          <ac:picMkLst>
            <pc:docMk/>
            <pc:sldMk cId="3757257295" sldId="291"/>
            <ac:picMk id="7" creationId="{48DAA826-00C2-FFDA-EE60-7DCC5EBB8182}"/>
          </ac:picMkLst>
        </pc:picChg>
      </pc:sldChg>
      <pc:sldChg chg="addSp delSp modSp mod">
        <pc:chgData name="Roberto Gallardo" userId="49a044883f185952" providerId="LiveId" clId="{0D02CD55-DD27-4CA2-9419-8DB94F773A1B}" dt="2023-03-05T13:47:14.109" v="284" actId="14100"/>
        <pc:sldMkLst>
          <pc:docMk/>
          <pc:sldMk cId="1259856727" sldId="292"/>
        </pc:sldMkLst>
        <pc:spChg chg="add mod">
          <ac:chgData name="Roberto Gallardo" userId="49a044883f185952" providerId="LiveId" clId="{0D02CD55-DD27-4CA2-9419-8DB94F773A1B}" dt="2023-02-24T19:06:58.056" v="80"/>
          <ac:spMkLst>
            <pc:docMk/>
            <pc:sldMk cId="1259856727" sldId="292"/>
            <ac:spMk id="6" creationId="{747AEBA7-A6F6-112B-0DDA-DC7EAF5B2035}"/>
          </ac:spMkLst>
        </pc:spChg>
        <pc:spChg chg="del">
          <ac:chgData name="Roberto Gallardo" userId="49a044883f185952" providerId="LiveId" clId="{0D02CD55-DD27-4CA2-9419-8DB94F773A1B}" dt="2023-02-24T19:06:57.698" v="79" actId="478"/>
          <ac:spMkLst>
            <pc:docMk/>
            <pc:sldMk cId="1259856727" sldId="292"/>
            <ac:spMk id="7" creationId="{51811D46-3545-CBB8-9C35-BAFF095496AA}"/>
          </ac:spMkLst>
        </pc:spChg>
        <pc:picChg chg="add mod">
          <ac:chgData name="Roberto Gallardo" userId="49a044883f185952" providerId="LiveId" clId="{0D02CD55-DD27-4CA2-9419-8DB94F773A1B}" dt="2023-03-05T13:47:14.109" v="284" actId="14100"/>
          <ac:picMkLst>
            <pc:docMk/>
            <pc:sldMk cId="1259856727" sldId="292"/>
            <ac:picMk id="7" creationId="{FAA202DA-C98D-39A7-73A5-A26893E15187}"/>
          </ac:picMkLst>
        </pc:picChg>
        <pc:picChg chg="add del mod">
          <ac:chgData name="Roberto Gallardo" userId="49a044883f185952" providerId="LiveId" clId="{0D02CD55-DD27-4CA2-9419-8DB94F773A1B}" dt="2023-03-05T13:29:03.407" v="153" actId="478"/>
          <ac:picMkLst>
            <pc:docMk/>
            <pc:sldMk cId="1259856727" sldId="292"/>
            <ac:picMk id="9" creationId="{BA7F8735-C704-14B5-A8F1-11D90FD59CB0}"/>
          </ac:picMkLst>
        </pc:picChg>
      </pc:sldChg>
      <pc:sldChg chg="addSp delSp modSp mod">
        <pc:chgData name="Roberto Gallardo" userId="49a044883f185952" providerId="LiveId" clId="{0D02CD55-DD27-4CA2-9419-8DB94F773A1B}" dt="2023-03-05T13:44:14.098" v="214" actId="14100"/>
        <pc:sldMkLst>
          <pc:docMk/>
          <pc:sldMk cId="3324519687" sldId="293"/>
        </pc:sldMkLst>
        <pc:spChg chg="mod">
          <ac:chgData name="Roberto Gallardo" userId="49a044883f185952" providerId="LiveId" clId="{0D02CD55-DD27-4CA2-9419-8DB94F773A1B}" dt="2023-02-24T19:02:22.736" v="29" actId="1076"/>
          <ac:spMkLst>
            <pc:docMk/>
            <pc:sldMk cId="3324519687" sldId="293"/>
            <ac:spMk id="5" creationId="{D5983BAC-F0A8-67AD-9ADA-1132EF8FA697}"/>
          </ac:spMkLst>
        </pc:spChg>
        <pc:picChg chg="add mod">
          <ac:chgData name="Roberto Gallardo" userId="49a044883f185952" providerId="LiveId" clId="{0D02CD55-DD27-4CA2-9419-8DB94F773A1B}" dt="2023-03-05T13:44:14.098" v="214" actId="14100"/>
          <ac:picMkLst>
            <pc:docMk/>
            <pc:sldMk cId="3324519687" sldId="293"/>
            <ac:picMk id="7" creationId="{2803A89A-FB2F-A0AA-358A-96360D46A5F7}"/>
          </ac:picMkLst>
        </pc:picChg>
        <pc:picChg chg="add del mod">
          <ac:chgData name="Roberto Gallardo" userId="49a044883f185952" providerId="LiveId" clId="{0D02CD55-DD27-4CA2-9419-8DB94F773A1B}" dt="2023-03-05T13:28:46.793" v="144" actId="478"/>
          <ac:picMkLst>
            <pc:docMk/>
            <pc:sldMk cId="3324519687" sldId="293"/>
            <ac:picMk id="7" creationId="{4288D974-27CB-3E39-9314-951500E0B2DC}"/>
          </ac:picMkLst>
        </pc:picChg>
      </pc:sldChg>
      <pc:sldChg chg="addSp delSp modSp mod">
        <pc:chgData name="Roberto Gallardo" userId="49a044883f185952" providerId="LiveId" clId="{0D02CD55-DD27-4CA2-9419-8DB94F773A1B}" dt="2023-03-05T13:43:19.286" v="197" actId="14100"/>
        <pc:sldMkLst>
          <pc:docMk/>
          <pc:sldMk cId="3256182630" sldId="295"/>
        </pc:sldMkLst>
        <pc:spChg chg="mod">
          <ac:chgData name="Roberto Gallardo" userId="49a044883f185952" providerId="LiveId" clId="{0D02CD55-DD27-4CA2-9419-8DB94F773A1B}" dt="2023-02-24T19:01:22.891" v="21" actId="14100"/>
          <ac:spMkLst>
            <pc:docMk/>
            <pc:sldMk cId="3256182630" sldId="295"/>
            <ac:spMk id="2" creationId="{C03B1400-5F72-D252-1DBE-EDCD6E63B07C}"/>
          </ac:spMkLst>
        </pc:spChg>
        <pc:picChg chg="add del mod ord">
          <ac:chgData name="Roberto Gallardo" userId="49a044883f185952" providerId="LiveId" clId="{0D02CD55-DD27-4CA2-9419-8DB94F773A1B}" dt="2023-03-05T13:28:43.090" v="142" actId="478"/>
          <ac:picMkLst>
            <pc:docMk/>
            <pc:sldMk cId="3256182630" sldId="295"/>
            <ac:picMk id="7" creationId="{245B86BC-2F9D-6F85-D9D2-C9CABBFCE132}"/>
          </ac:picMkLst>
        </pc:picChg>
        <pc:picChg chg="add mod">
          <ac:chgData name="Roberto Gallardo" userId="49a044883f185952" providerId="LiveId" clId="{0D02CD55-DD27-4CA2-9419-8DB94F773A1B}" dt="2023-03-05T13:43:19.286" v="197" actId="14100"/>
          <ac:picMkLst>
            <pc:docMk/>
            <pc:sldMk cId="3256182630" sldId="295"/>
            <ac:picMk id="7" creationId="{5CA32186-78C2-1FD5-7ED1-E96041C282E3}"/>
          </ac:picMkLst>
        </pc:picChg>
      </pc:sldChg>
      <pc:sldChg chg="addSp delSp modSp mod">
        <pc:chgData name="Roberto Gallardo" userId="49a044883f185952" providerId="LiveId" clId="{0D02CD55-DD27-4CA2-9419-8DB94F773A1B}" dt="2023-03-05T13:43:51.494" v="205" actId="14100"/>
        <pc:sldMkLst>
          <pc:docMk/>
          <pc:sldMk cId="4057156843" sldId="296"/>
        </pc:sldMkLst>
        <pc:spChg chg="mod">
          <ac:chgData name="Roberto Gallardo" userId="49a044883f185952" providerId="LiveId" clId="{0D02CD55-DD27-4CA2-9419-8DB94F773A1B}" dt="2023-02-24T19:04:35.804" v="51" actId="1076"/>
          <ac:spMkLst>
            <pc:docMk/>
            <pc:sldMk cId="4057156843" sldId="296"/>
            <ac:spMk id="3" creationId="{AF651823-818E-912D-E331-CDEB914505A8}"/>
          </ac:spMkLst>
        </pc:spChg>
        <pc:picChg chg="add mod">
          <ac:chgData name="Roberto Gallardo" userId="49a044883f185952" providerId="LiveId" clId="{0D02CD55-DD27-4CA2-9419-8DB94F773A1B}" dt="2023-03-05T13:43:51.494" v="205" actId="14100"/>
          <ac:picMkLst>
            <pc:docMk/>
            <pc:sldMk cId="4057156843" sldId="296"/>
            <ac:picMk id="7" creationId="{32E6D8C5-6A75-2BEE-6904-B2735CC19405}"/>
          </ac:picMkLst>
        </pc:picChg>
        <pc:picChg chg="add del mod">
          <ac:chgData name="Roberto Gallardo" userId="49a044883f185952" providerId="LiveId" clId="{0D02CD55-DD27-4CA2-9419-8DB94F773A1B}" dt="2023-02-24T19:01:58.731" v="23" actId="21"/>
          <ac:picMkLst>
            <pc:docMk/>
            <pc:sldMk cId="4057156843" sldId="296"/>
            <ac:picMk id="7" creationId="{7C7BA127-E7B0-287A-F710-B3461A05EF6E}"/>
          </ac:picMkLst>
        </pc:picChg>
        <pc:picChg chg="add del mod">
          <ac:chgData name="Roberto Gallardo" userId="49a044883f185952" providerId="LiveId" clId="{0D02CD55-DD27-4CA2-9419-8DB94F773A1B}" dt="2023-03-05T13:28:44.991" v="143" actId="478"/>
          <ac:picMkLst>
            <pc:docMk/>
            <pc:sldMk cId="4057156843" sldId="296"/>
            <ac:picMk id="9" creationId="{AB01324D-D7E1-6F51-6F4A-9F4E8AE0DF7E}"/>
          </ac:picMkLst>
        </pc:picChg>
      </pc:sldChg>
      <pc:sldChg chg="addSp delSp modSp mod">
        <pc:chgData name="Roberto Gallardo" userId="49a044883f185952" providerId="LiveId" clId="{0D02CD55-DD27-4CA2-9419-8DB94F773A1B}" dt="2023-03-05T13:42:26.075" v="189" actId="1076"/>
        <pc:sldMkLst>
          <pc:docMk/>
          <pc:sldMk cId="2080110827" sldId="297"/>
        </pc:sldMkLst>
        <pc:picChg chg="add del mod">
          <ac:chgData name="Roberto Gallardo" userId="49a044883f185952" providerId="LiveId" clId="{0D02CD55-DD27-4CA2-9419-8DB94F773A1B}" dt="2023-03-05T13:28:40.093" v="141" actId="478"/>
          <ac:picMkLst>
            <pc:docMk/>
            <pc:sldMk cId="2080110827" sldId="297"/>
            <ac:picMk id="3" creationId="{1B5FC02A-6CBD-86AC-E7D8-D357CAEB417F}"/>
          </ac:picMkLst>
        </pc:picChg>
        <pc:picChg chg="add mod">
          <ac:chgData name="Roberto Gallardo" userId="49a044883f185952" providerId="LiveId" clId="{0D02CD55-DD27-4CA2-9419-8DB94F773A1B}" dt="2023-03-05T13:42:26.075" v="189" actId="1076"/>
          <ac:picMkLst>
            <pc:docMk/>
            <pc:sldMk cId="2080110827" sldId="297"/>
            <ac:picMk id="6" creationId="{392B120B-4C7A-9364-DA4E-8D00FE8EDC0D}"/>
          </ac:picMkLst>
        </pc:picChg>
      </pc:sldChg>
      <pc:sldChg chg="addSp delSp modSp mod">
        <pc:chgData name="Roberto Gallardo" userId="49a044883f185952" providerId="LiveId" clId="{0D02CD55-DD27-4CA2-9419-8DB94F773A1B}" dt="2023-03-05T13:41:51.161" v="178" actId="1076"/>
        <pc:sldMkLst>
          <pc:docMk/>
          <pc:sldMk cId="1532666867" sldId="298"/>
        </pc:sldMkLst>
        <pc:picChg chg="add del mod">
          <ac:chgData name="Roberto Gallardo" userId="49a044883f185952" providerId="LiveId" clId="{0D02CD55-DD27-4CA2-9419-8DB94F773A1B}" dt="2023-03-05T13:28:38.674" v="140" actId="478"/>
          <ac:picMkLst>
            <pc:docMk/>
            <pc:sldMk cId="1532666867" sldId="298"/>
            <ac:picMk id="3" creationId="{CB4BC32D-4460-8F52-9A2D-DD2A983B559B}"/>
          </ac:picMkLst>
        </pc:picChg>
        <pc:picChg chg="add mod">
          <ac:chgData name="Roberto Gallardo" userId="49a044883f185952" providerId="LiveId" clId="{0D02CD55-DD27-4CA2-9419-8DB94F773A1B}" dt="2023-03-05T13:41:51.161" v="178" actId="1076"/>
          <ac:picMkLst>
            <pc:docMk/>
            <pc:sldMk cId="1532666867" sldId="298"/>
            <ac:picMk id="6" creationId="{3079AE9A-AFB3-B8F9-92BF-514BBFD054E2}"/>
          </ac:picMkLst>
        </pc:picChg>
      </pc:sldChg>
      <pc:sldChg chg="addSp delSp modSp mod">
        <pc:chgData name="Roberto Gallardo" userId="49a044883f185952" providerId="LiveId" clId="{0D02CD55-DD27-4CA2-9419-8DB94F773A1B}" dt="2023-03-05T13:48:29.433" v="313" actId="1076"/>
        <pc:sldMkLst>
          <pc:docMk/>
          <pc:sldMk cId="1951376777" sldId="299"/>
        </pc:sldMkLst>
        <pc:spChg chg="mod">
          <ac:chgData name="Roberto Gallardo" userId="49a044883f185952" providerId="LiveId" clId="{0D02CD55-DD27-4CA2-9419-8DB94F773A1B}" dt="2023-02-24T19:07:27.787" v="89" actId="1076"/>
          <ac:spMkLst>
            <pc:docMk/>
            <pc:sldMk cId="1951376777" sldId="299"/>
            <ac:spMk id="7" creationId="{51811D46-3545-CBB8-9C35-BAFF095496AA}"/>
          </ac:spMkLst>
        </pc:spChg>
        <pc:picChg chg="add mod">
          <ac:chgData name="Roberto Gallardo" userId="49a044883f185952" providerId="LiveId" clId="{0D02CD55-DD27-4CA2-9419-8DB94F773A1B}" dt="2023-03-05T13:48:29.433" v="313" actId="1076"/>
          <ac:picMkLst>
            <pc:docMk/>
            <pc:sldMk cId="1951376777" sldId="299"/>
            <ac:picMk id="6" creationId="{1757252F-3B29-8475-E389-95F6B612610E}"/>
          </ac:picMkLst>
        </pc:picChg>
        <pc:picChg chg="add del mod">
          <ac:chgData name="Roberto Gallardo" userId="49a044883f185952" providerId="LiveId" clId="{0D02CD55-DD27-4CA2-9419-8DB94F773A1B}" dt="2023-03-05T13:29:08.586" v="156" actId="478"/>
          <ac:picMkLst>
            <pc:docMk/>
            <pc:sldMk cId="1951376777" sldId="299"/>
            <ac:picMk id="6" creationId="{576B807E-2FC3-7485-5EC0-080B366A9FF9}"/>
          </ac:picMkLst>
        </pc:picChg>
      </pc:sldChg>
      <pc:sldChg chg="modSp mod">
        <pc:chgData name="Roberto Gallardo" userId="49a044883f185952" providerId="LiveId" clId="{0D02CD55-DD27-4CA2-9419-8DB94F773A1B}" dt="2023-02-25T13:21:46.747" v="136" actId="20577"/>
        <pc:sldMkLst>
          <pc:docMk/>
          <pc:sldMk cId="1515423683" sldId="302"/>
        </pc:sldMkLst>
        <pc:spChg chg="mod">
          <ac:chgData name="Roberto Gallardo" userId="49a044883f185952" providerId="LiveId" clId="{0D02CD55-DD27-4CA2-9419-8DB94F773A1B}" dt="2023-02-25T13:21:46.747" v="136" actId="20577"/>
          <ac:spMkLst>
            <pc:docMk/>
            <pc:sldMk cId="1515423683" sldId="302"/>
            <ac:spMk id="5" creationId="{6AE302AC-8931-4144-BE52-DD1A8BA82462}"/>
          </ac:spMkLst>
        </pc:spChg>
        <pc:spChg chg="mod">
          <ac:chgData name="Roberto Gallardo" userId="49a044883f185952" providerId="LiveId" clId="{0D02CD55-DD27-4CA2-9419-8DB94F773A1B}" dt="2023-02-25T13:21:44.018" v="135" actId="20577"/>
          <ac:spMkLst>
            <pc:docMk/>
            <pc:sldMk cId="1515423683" sldId="302"/>
            <ac:spMk id="9" creationId="{E362A98F-7DCD-C67C-23CE-1BE182A133B4}"/>
          </ac:spMkLst>
        </pc:spChg>
      </pc:sldChg>
      <pc:sldChg chg="del">
        <pc:chgData name="Roberto Gallardo" userId="49a044883f185952" providerId="LiveId" clId="{0D02CD55-DD27-4CA2-9419-8DB94F773A1B}" dt="2023-02-25T14:49:07.827" v="138" actId="47"/>
        <pc:sldMkLst>
          <pc:docMk/>
          <pc:sldMk cId="2841628872" sldId="303"/>
        </pc:sldMkLst>
      </pc:sldChg>
      <pc:sldChg chg="del">
        <pc:chgData name="Roberto Gallardo" userId="49a044883f185952" providerId="LiveId" clId="{0D02CD55-DD27-4CA2-9419-8DB94F773A1B}" dt="2023-02-25T14:49:07.827" v="138" actId="47"/>
        <pc:sldMkLst>
          <pc:docMk/>
          <pc:sldMk cId="3084076302" sldId="304"/>
        </pc:sldMkLst>
      </pc:sldChg>
      <pc:sldChg chg="del">
        <pc:chgData name="Roberto Gallardo" userId="49a044883f185952" providerId="LiveId" clId="{0D02CD55-DD27-4CA2-9419-8DB94F773A1B}" dt="2023-02-25T14:49:07.827" v="138" actId="47"/>
        <pc:sldMkLst>
          <pc:docMk/>
          <pc:sldMk cId="473712435" sldId="305"/>
        </pc:sldMkLst>
      </pc:sldChg>
      <pc:sldChg chg="modSp mod">
        <pc:chgData name="Roberto Gallardo" userId="49a044883f185952" providerId="LiveId" clId="{0D02CD55-DD27-4CA2-9419-8DB94F773A1B}" dt="2023-02-24T19:11:21.587" v="133" actId="1036"/>
        <pc:sldMkLst>
          <pc:docMk/>
          <pc:sldMk cId="2366022307" sldId="306"/>
        </pc:sldMkLst>
        <pc:spChg chg="mod">
          <ac:chgData name="Roberto Gallardo" userId="49a044883f185952" providerId="LiveId" clId="{0D02CD55-DD27-4CA2-9419-8DB94F773A1B}" dt="2023-02-24T19:11:14.348" v="131" actId="20577"/>
          <ac:spMkLst>
            <pc:docMk/>
            <pc:sldMk cId="2366022307" sldId="306"/>
            <ac:spMk id="11" creationId="{09F5AE19-B4E3-7788-F25F-CDA80D596DAF}"/>
          </ac:spMkLst>
        </pc:spChg>
        <pc:cxnChg chg="mod">
          <ac:chgData name="Roberto Gallardo" userId="49a044883f185952" providerId="LiveId" clId="{0D02CD55-DD27-4CA2-9419-8DB94F773A1B}" dt="2023-02-24T19:11:21.587" v="133" actId="1036"/>
          <ac:cxnSpMkLst>
            <pc:docMk/>
            <pc:sldMk cId="2366022307" sldId="306"/>
            <ac:cxnSpMk id="27" creationId="{F0CF8142-8895-D0A8-A662-E40568742508}"/>
          </ac:cxnSpMkLst>
        </pc:cxnChg>
        <pc:cxnChg chg="mod">
          <ac:chgData name="Roberto Gallardo" userId="49a044883f185952" providerId="LiveId" clId="{0D02CD55-DD27-4CA2-9419-8DB94F773A1B}" dt="2023-02-24T19:11:21.587" v="133" actId="1036"/>
          <ac:cxnSpMkLst>
            <pc:docMk/>
            <pc:sldMk cId="2366022307" sldId="306"/>
            <ac:cxnSpMk id="28" creationId="{15C28C80-F0E1-159F-F103-CEA53436F6F9}"/>
          </ac:cxnSpMkLst>
        </pc:cxnChg>
      </pc:sldChg>
      <pc:sldChg chg="add del">
        <pc:chgData name="Roberto Gallardo" userId="49a044883f185952" providerId="LiveId" clId="{0D02CD55-DD27-4CA2-9419-8DB94F773A1B}" dt="2023-02-24T19:08:30.147" v="100"/>
        <pc:sldMkLst>
          <pc:docMk/>
          <pc:sldMk cId="453494793" sldId="307"/>
        </pc:sldMkLst>
      </pc:sldChg>
      <pc:sldChg chg="add">
        <pc:chgData name="Roberto Gallardo" userId="49a044883f185952" providerId="LiveId" clId="{0D02CD55-DD27-4CA2-9419-8DB94F773A1B}" dt="2023-02-25T14:49:04.671" v="137"/>
        <pc:sldMkLst>
          <pc:docMk/>
          <pc:sldMk cId="2153575196" sldId="307"/>
        </pc:sldMkLst>
      </pc:sldChg>
      <pc:sldChg chg="add">
        <pc:chgData name="Roberto Gallardo" userId="49a044883f185952" providerId="LiveId" clId="{0D02CD55-DD27-4CA2-9419-8DB94F773A1B}" dt="2023-02-25T14:49:04.671" v="137"/>
        <pc:sldMkLst>
          <pc:docMk/>
          <pc:sldMk cId="3451623334" sldId="308"/>
        </pc:sldMkLst>
      </pc:sldChg>
      <pc:sldChg chg="add">
        <pc:chgData name="Roberto Gallardo" userId="49a044883f185952" providerId="LiveId" clId="{0D02CD55-DD27-4CA2-9419-8DB94F773A1B}" dt="2023-02-25T14:49:04.671" v="137"/>
        <pc:sldMkLst>
          <pc:docMk/>
          <pc:sldMk cId="825672216" sldId="309"/>
        </pc:sldMkLst>
      </pc:sldChg>
      <pc:sldChg chg="add">
        <pc:chgData name="Roberto Gallardo" userId="49a044883f185952" providerId="LiveId" clId="{0D02CD55-DD27-4CA2-9419-8DB94F773A1B}" dt="2023-02-25T14:49:04.671" v="137"/>
        <pc:sldMkLst>
          <pc:docMk/>
          <pc:sldMk cId="762964835"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Cabarrus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43D7FB5-8E53-1D5A-6525-0FCAB48C2B38}"/>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8256722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D549846F-3510-1B30-D50A-D4B0571BA481}"/>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7629648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Chart, schematic, map&#10;&#10;Description automatically generated">
            <a:extLst>
              <a:ext uri="{FF2B5EF4-FFF2-40B4-BE49-F238E27FC236}">
                <a16:creationId xmlns:a16="http://schemas.microsoft.com/office/drawing/2014/main" id="{B645CE68-277F-5B1B-95F6-43081900D6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0951" y="1028700"/>
            <a:ext cx="7533898" cy="532765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3079AE9A-AFB3-B8F9-92BF-514BBFD054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4792" y="1024345"/>
            <a:ext cx="7546216" cy="5336361"/>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392B120B-4C7A-9364-DA4E-8D00FE8EDC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4541" y="1024168"/>
            <a:ext cx="7546718" cy="5336715"/>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19F4521D-26E1-9317-AF93-6DF92903B87A}"/>
              </a:ext>
            </a:extLst>
          </p:cNvPr>
          <p:cNvPicPr preferRelativeResize="0"/>
          <p:nvPr/>
        </p:nvPicPr>
        <p:blipFill>
          <a:blip r:embed="rId2"/>
          <a:stretch>
            <a:fillRect/>
          </a:stretch>
        </p:blipFill>
        <p:spPr>
          <a:xfrm>
            <a:off x="32067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5CA32186-78C2-1FD5-7ED1-E96041C282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63101" y="1524001"/>
            <a:ext cx="6076499" cy="4297039"/>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9EBD7F5B-A8AB-82B0-A127-ADB3F706999F}"/>
              </a:ext>
            </a:extLst>
          </p:cNvPr>
          <p:cNvPicPr preferRelativeResize="0"/>
          <p:nvPr/>
        </p:nvPicPr>
        <p:blipFill>
          <a:blip r:embed="rId2"/>
          <a:stretch>
            <a:fillRect/>
          </a:stretch>
        </p:blipFill>
        <p:spPr>
          <a:xfrm>
            <a:off x="311150"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32E6D8C5-6A75-2BEE-6904-B2735CC1940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67435" y="1524001"/>
            <a:ext cx="6072166" cy="4293976"/>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093768"/>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F342B327-63AD-32CA-E029-89B85AE1938E}"/>
              </a:ext>
            </a:extLst>
          </p:cNvPr>
          <p:cNvPicPr preferRelativeResize="0"/>
          <p:nvPr/>
        </p:nvPicPr>
        <p:blipFill>
          <a:blip r:embed="rId2"/>
          <a:stretch>
            <a:fillRect/>
          </a:stretch>
        </p:blipFill>
        <p:spPr>
          <a:xfrm>
            <a:off x="311150" y="1754188"/>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2803A89A-FB2F-A0AA-358A-96360D46A5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63101" y="1532571"/>
            <a:ext cx="6076499" cy="4297040"/>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1959C06-F7C5-FE61-358D-DC3160C0D38E}"/>
              </a:ext>
            </a:extLst>
          </p:cNvPr>
          <p:cNvPicPr preferRelativeResize="0"/>
          <p:nvPr/>
        </p:nvPicPr>
        <p:blipFill>
          <a:blip r:embed="rId2"/>
          <a:stretch>
            <a:fillRect/>
          </a:stretch>
        </p:blipFill>
        <p:spPr>
          <a:xfrm>
            <a:off x="3016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58CEA97C-9212-1545-BC89-E00B607A4A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1422" y="1524000"/>
            <a:ext cx="6088179" cy="4305299"/>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732F481-12DE-EE0D-0DE7-DB87ACE1D957}"/>
              </a:ext>
            </a:extLst>
          </p:cNvPr>
          <p:cNvPicPr preferRelativeResize="0"/>
          <p:nvPr/>
        </p:nvPicPr>
        <p:blipFill>
          <a:blip r:embed="rId2"/>
          <a:stretch>
            <a:fillRect/>
          </a:stretch>
        </p:blipFill>
        <p:spPr>
          <a:xfrm>
            <a:off x="261938" y="1741488"/>
            <a:ext cx="5475287" cy="3870325"/>
          </a:xfrm>
          <a:prstGeom prst="rect">
            <a:avLst/>
          </a:prstGeom>
        </p:spPr>
      </p:pic>
      <p:pic>
        <p:nvPicPr>
          <p:cNvPr id="6" name="Picture 5" descr="Map&#10;&#10;Description automatically generated">
            <a:extLst>
              <a:ext uri="{FF2B5EF4-FFF2-40B4-BE49-F238E27FC236}">
                <a16:creationId xmlns:a16="http://schemas.microsoft.com/office/drawing/2014/main" id="{9B582F32-CDF4-C1BF-082B-5DE6D83510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7557" y="1523999"/>
            <a:ext cx="6088181" cy="430530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a:t>
            </a:r>
            <a:r>
              <a:rPr lang="en-US" sz="1400"/>
              <a:t>darker 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398"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F7F5AE2-921E-4261-B5CE-B07ADE6D5507}"/>
              </a:ext>
            </a:extLst>
          </p:cNvPr>
          <p:cNvPicPr preferRelativeResize="0"/>
          <p:nvPr/>
        </p:nvPicPr>
        <p:blipFill>
          <a:blip r:embed="rId2"/>
          <a:stretch>
            <a:fillRect/>
          </a:stretch>
        </p:blipFill>
        <p:spPr>
          <a:xfrm>
            <a:off x="152398" y="1638300"/>
            <a:ext cx="5684413" cy="4076700"/>
          </a:xfrm>
          <a:prstGeom prst="rect">
            <a:avLst/>
          </a:prstGeom>
        </p:spPr>
      </p:pic>
      <p:pic>
        <p:nvPicPr>
          <p:cNvPr id="6" name="Picture 5" descr="Map&#10;&#10;Description automatically generated">
            <a:extLst>
              <a:ext uri="{FF2B5EF4-FFF2-40B4-BE49-F238E27FC236}">
                <a16:creationId xmlns:a16="http://schemas.microsoft.com/office/drawing/2014/main" id="{D948D4BD-837F-EC35-C09F-64542DA13F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1420" y="1524000"/>
            <a:ext cx="6088180" cy="4305300"/>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3" name="Picture 2">
            <a:extLst>
              <a:ext uri="{FF2B5EF4-FFF2-40B4-BE49-F238E27FC236}">
                <a16:creationId xmlns:a16="http://schemas.microsoft.com/office/drawing/2014/main" id="{0B9F97FF-25AC-1DFC-8505-C8FE4E2E1910}"/>
              </a:ext>
            </a:extLst>
          </p:cNvPr>
          <p:cNvPicPr preferRelativeResize="0"/>
          <p:nvPr/>
        </p:nvPicPr>
        <p:blipFill>
          <a:blip r:embed="rId2"/>
          <a:stretch>
            <a:fillRect/>
          </a:stretch>
        </p:blipFill>
        <p:spPr>
          <a:xfrm>
            <a:off x="152399" y="1638300"/>
            <a:ext cx="5688751" cy="4076700"/>
          </a:xfrm>
          <a:prstGeom prst="rect">
            <a:avLst/>
          </a:prstGeom>
        </p:spPr>
      </p:pic>
      <p:sp>
        <p:nvSpPr>
          <p:cNvPr id="6" name="TextBox 5">
            <a:extLst>
              <a:ext uri="{FF2B5EF4-FFF2-40B4-BE49-F238E27FC236}">
                <a16:creationId xmlns:a16="http://schemas.microsoft.com/office/drawing/2014/main" id="{CB69BD2A-F147-EC7A-5F1C-DB19F3F8A2AC}"/>
              </a:ext>
            </a:extLst>
          </p:cNvPr>
          <p:cNvSpPr txBox="1"/>
          <p:nvPr/>
        </p:nvSpPr>
        <p:spPr>
          <a:xfrm>
            <a:off x="152398"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14281970-372C-126E-3A3B-B5C825F689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0100" y="1524000"/>
            <a:ext cx="6089502" cy="4306234"/>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3" name="Picture 2">
            <a:extLst>
              <a:ext uri="{FF2B5EF4-FFF2-40B4-BE49-F238E27FC236}">
                <a16:creationId xmlns:a16="http://schemas.microsoft.com/office/drawing/2014/main" id="{571987AB-9577-BA4A-7601-51D681381BD3}"/>
              </a:ext>
            </a:extLst>
          </p:cNvPr>
          <p:cNvPicPr/>
          <p:nvPr/>
        </p:nvPicPr>
        <p:blipFill>
          <a:blip r:embed="rId2"/>
          <a:stretch>
            <a:fillRect/>
          </a:stretch>
        </p:blipFill>
        <p:spPr>
          <a:xfrm>
            <a:off x="152400" y="1638300"/>
            <a:ext cx="5688751" cy="4076700"/>
          </a:xfrm>
          <a:prstGeom prst="rect">
            <a:avLst/>
          </a:prstGeom>
        </p:spPr>
      </p:pic>
      <p:sp>
        <p:nvSpPr>
          <p:cNvPr id="8" name="TextBox 7">
            <a:extLst>
              <a:ext uri="{FF2B5EF4-FFF2-40B4-BE49-F238E27FC236}">
                <a16:creationId xmlns:a16="http://schemas.microsoft.com/office/drawing/2014/main" id="{3102CA60-702B-ACD2-D04B-0E51A35186D7}"/>
              </a:ext>
            </a:extLst>
          </p:cNvPr>
          <p:cNvSpPr txBox="1"/>
          <p:nvPr/>
        </p:nvSpPr>
        <p:spPr>
          <a:xfrm>
            <a:off x="152398"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descr="Map&#10;&#10;Description automatically generated">
            <a:extLst>
              <a:ext uri="{FF2B5EF4-FFF2-40B4-BE49-F238E27FC236}">
                <a16:creationId xmlns:a16="http://schemas.microsoft.com/office/drawing/2014/main" id="{5AFD46F4-2375-AA99-28C6-9A6B0E2C6E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37100" y="1524000"/>
            <a:ext cx="6102500" cy="4315426"/>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3" name="Picture 2">
            <a:extLst>
              <a:ext uri="{FF2B5EF4-FFF2-40B4-BE49-F238E27FC236}">
                <a16:creationId xmlns:a16="http://schemas.microsoft.com/office/drawing/2014/main" id="{0B7BB625-5912-504B-2DAA-1968631BE57D}"/>
              </a:ext>
            </a:extLst>
          </p:cNvPr>
          <p:cNvPicPr preferRelativeResize="0"/>
          <p:nvPr/>
        </p:nvPicPr>
        <p:blipFill>
          <a:blip r:embed="rId2"/>
          <a:stretch>
            <a:fillRect/>
          </a:stretch>
        </p:blipFill>
        <p:spPr>
          <a:xfrm>
            <a:off x="152399" y="1638300"/>
            <a:ext cx="5684413" cy="4076700"/>
          </a:xfrm>
          <a:prstGeom prst="rect">
            <a:avLst/>
          </a:prstGeom>
        </p:spPr>
      </p:pic>
      <p:sp>
        <p:nvSpPr>
          <p:cNvPr id="8" name="TextBox 7">
            <a:extLst>
              <a:ext uri="{FF2B5EF4-FFF2-40B4-BE49-F238E27FC236}">
                <a16:creationId xmlns:a16="http://schemas.microsoft.com/office/drawing/2014/main" id="{9D0EBD86-93C9-931C-E79F-B71224937E0A}"/>
              </a:ext>
            </a:extLst>
          </p:cNvPr>
          <p:cNvSpPr txBox="1"/>
          <p:nvPr/>
        </p:nvSpPr>
        <p:spPr>
          <a:xfrm>
            <a:off x="152398"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descr="Chart&#10;&#10;Description automatically generated">
            <a:extLst>
              <a:ext uri="{FF2B5EF4-FFF2-40B4-BE49-F238E27FC236}">
                <a16:creationId xmlns:a16="http://schemas.microsoft.com/office/drawing/2014/main" id="{6DBDECE0-3314-34E6-9464-B64A7EBC65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1421" y="1524000"/>
            <a:ext cx="6088180" cy="4305300"/>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3" name="Picture 2">
            <a:extLst>
              <a:ext uri="{FF2B5EF4-FFF2-40B4-BE49-F238E27FC236}">
                <a16:creationId xmlns:a16="http://schemas.microsoft.com/office/drawing/2014/main" id="{5A0D6653-6C33-0839-D4B6-6E3DC5CA1BD8}"/>
              </a:ext>
            </a:extLst>
          </p:cNvPr>
          <p:cNvPicPr preferRelativeResize="0"/>
          <p:nvPr/>
        </p:nvPicPr>
        <p:blipFill>
          <a:blip r:embed="rId2"/>
          <a:stretch>
            <a:fillRect/>
          </a:stretch>
        </p:blipFill>
        <p:spPr>
          <a:xfrm>
            <a:off x="152398" y="1638300"/>
            <a:ext cx="5684413" cy="4076700"/>
          </a:xfrm>
          <a:prstGeom prst="rect">
            <a:avLst/>
          </a:prstGeom>
        </p:spPr>
      </p:pic>
      <p:sp>
        <p:nvSpPr>
          <p:cNvPr id="6" name="TextBox 5">
            <a:extLst>
              <a:ext uri="{FF2B5EF4-FFF2-40B4-BE49-F238E27FC236}">
                <a16:creationId xmlns:a16="http://schemas.microsoft.com/office/drawing/2014/main" id="{63FE4D66-9166-3DD6-0B0D-691DAE36061F}"/>
              </a:ext>
            </a:extLst>
          </p:cNvPr>
          <p:cNvSpPr txBox="1"/>
          <p:nvPr/>
        </p:nvSpPr>
        <p:spPr>
          <a:xfrm>
            <a:off x="152398"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Chart, map, surface chart&#10;&#10;Description automatically generated">
            <a:extLst>
              <a:ext uri="{FF2B5EF4-FFF2-40B4-BE49-F238E27FC236}">
                <a16:creationId xmlns:a16="http://schemas.microsoft.com/office/drawing/2014/main" id="{600274F6-9A81-3024-AF41-2411E415E7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1421" y="1524000"/>
            <a:ext cx="6088180" cy="4305300"/>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3" name="Picture 2">
            <a:extLst>
              <a:ext uri="{FF2B5EF4-FFF2-40B4-BE49-F238E27FC236}">
                <a16:creationId xmlns:a16="http://schemas.microsoft.com/office/drawing/2014/main" id="{F3930540-CEC6-26C6-E5ED-E6B92098D8EA}"/>
              </a:ext>
            </a:extLst>
          </p:cNvPr>
          <p:cNvPicPr preferRelativeResize="0"/>
          <p:nvPr/>
        </p:nvPicPr>
        <p:blipFill>
          <a:blip r:embed="rId2"/>
          <a:stretch>
            <a:fillRect/>
          </a:stretch>
        </p:blipFill>
        <p:spPr>
          <a:xfrm>
            <a:off x="152400" y="1638300"/>
            <a:ext cx="5691591" cy="4076700"/>
          </a:xfrm>
          <a:prstGeom prst="rect">
            <a:avLst/>
          </a:prstGeom>
        </p:spPr>
      </p:pic>
      <p:sp>
        <p:nvSpPr>
          <p:cNvPr id="6" name="TextBox 5">
            <a:extLst>
              <a:ext uri="{FF2B5EF4-FFF2-40B4-BE49-F238E27FC236}">
                <a16:creationId xmlns:a16="http://schemas.microsoft.com/office/drawing/2014/main" id="{747AEBA7-A6F6-112B-0DDA-DC7EAF5B2035}"/>
              </a:ext>
            </a:extLst>
          </p:cNvPr>
          <p:cNvSpPr txBox="1"/>
          <p:nvPr/>
        </p:nvSpPr>
        <p:spPr>
          <a:xfrm>
            <a:off x="152398"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AA202DA-C98D-39A7-73A5-A26893E151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1420" y="1524000"/>
            <a:ext cx="6088180" cy="4305300"/>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Map&#10;&#10;Description automatically generated">
            <a:extLst>
              <a:ext uri="{FF2B5EF4-FFF2-40B4-BE49-F238E27FC236}">
                <a16:creationId xmlns:a16="http://schemas.microsoft.com/office/drawing/2014/main" id="{4A47BE73-428A-0492-E2CA-FAD71421C1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51420" y="1524000"/>
            <a:ext cx="6088180" cy="430530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3" name="Picture 2">
            <a:extLst>
              <a:ext uri="{FF2B5EF4-FFF2-40B4-BE49-F238E27FC236}">
                <a16:creationId xmlns:a16="http://schemas.microsoft.com/office/drawing/2014/main" id="{32685D83-9694-7FD8-D9DF-F47BC67F13B4}"/>
              </a:ext>
            </a:extLst>
          </p:cNvPr>
          <p:cNvPicPr preferRelativeResize="0"/>
          <p:nvPr/>
        </p:nvPicPr>
        <p:blipFill>
          <a:blip r:embed="rId3"/>
          <a:stretch>
            <a:fillRect/>
          </a:stretch>
        </p:blipFill>
        <p:spPr>
          <a:xfrm>
            <a:off x="152398" y="1638300"/>
            <a:ext cx="5684413" cy="4076700"/>
          </a:xfrm>
          <a:prstGeom prst="rect">
            <a:avLst/>
          </a:prstGeom>
        </p:spPr>
      </p:pic>
      <p:sp>
        <p:nvSpPr>
          <p:cNvPr id="6" name="TextBox 5">
            <a:extLst>
              <a:ext uri="{FF2B5EF4-FFF2-40B4-BE49-F238E27FC236}">
                <a16:creationId xmlns:a16="http://schemas.microsoft.com/office/drawing/2014/main" id="{9A25A973-CC2E-AB4B-13D3-B0D863C9D1D6}"/>
              </a:ext>
            </a:extLst>
          </p:cNvPr>
          <p:cNvSpPr txBox="1"/>
          <p:nvPr/>
        </p:nvSpPr>
        <p:spPr>
          <a:xfrm>
            <a:off x="152398" y="6217850"/>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3" name="Picture 2">
            <a:extLst>
              <a:ext uri="{FF2B5EF4-FFF2-40B4-BE49-F238E27FC236}">
                <a16:creationId xmlns:a16="http://schemas.microsoft.com/office/drawing/2014/main" id="{3EA39D0A-2C79-95EC-A390-F169EE40257A}"/>
              </a:ext>
            </a:extLst>
          </p:cNvPr>
          <p:cNvPicPr preferRelativeResize="0"/>
          <p:nvPr/>
        </p:nvPicPr>
        <p:blipFill>
          <a:blip r:embed="rId2"/>
          <a:stretch>
            <a:fillRect/>
          </a:stretch>
        </p:blipFill>
        <p:spPr>
          <a:xfrm>
            <a:off x="152399" y="1638300"/>
            <a:ext cx="5684413" cy="4076700"/>
          </a:xfrm>
          <a:prstGeom prst="rect">
            <a:avLst/>
          </a:prstGeom>
        </p:spPr>
      </p:pic>
      <p:sp>
        <p:nvSpPr>
          <p:cNvPr id="6" name="TextBox 5">
            <a:extLst>
              <a:ext uri="{FF2B5EF4-FFF2-40B4-BE49-F238E27FC236}">
                <a16:creationId xmlns:a16="http://schemas.microsoft.com/office/drawing/2014/main" id="{BDD49F7D-AE72-CDC1-D73A-C0BC0676F55F}"/>
              </a:ext>
            </a:extLst>
          </p:cNvPr>
          <p:cNvSpPr txBox="1"/>
          <p:nvPr/>
        </p:nvSpPr>
        <p:spPr>
          <a:xfrm>
            <a:off x="152398"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Chart, map&#10;&#10;Description automatically generated">
            <a:extLst>
              <a:ext uri="{FF2B5EF4-FFF2-40B4-BE49-F238E27FC236}">
                <a16:creationId xmlns:a16="http://schemas.microsoft.com/office/drawing/2014/main" id="{71868911-4E8C-F369-92E4-0B6BBC343B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0101" y="1523067"/>
            <a:ext cx="6089500" cy="4306233"/>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3" name="Picture 2">
            <a:extLst>
              <a:ext uri="{FF2B5EF4-FFF2-40B4-BE49-F238E27FC236}">
                <a16:creationId xmlns:a16="http://schemas.microsoft.com/office/drawing/2014/main" id="{CA1EE770-7F24-CB2E-2726-2C881D525C7F}"/>
              </a:ext>
            </a:extLst>
          </p:cNvPr>
          <p:cNvPicPr preferRelativeResize="0"/>
          <p:nvPr/>
        </p:nvPicPr>
        <p:blipFill>
          <a:blip r:embed="rId2"/>
          <a:stretch>
            <a:fillRect/>
          </a:stretch>
        </p:blipFill>
        <p:spPr>
          <a:xfrm>
            <a:off x="152400" y="1638300"/>
            <a:ext cx="5700229" cy="4076700"/>
          </a:xfrm>
          <a:prstGeom prst="rect">
            <a:avLst/>
          </a:prstGeom>
        </p:spPr>
      </p:pic>
      <p:pic>
        <p:nvPicPr>
          <p:cNvPr id="6" name="Picture 5" descr="Chart, map&#10;&#10;Description automatically generated">
            <a:extLst>
              <a:ext uri="{FF2B5EF4-FFF2-40B4-BE49-F238E27FC236}">
                <a16:creationId xmlns:a16="http://schemas.microsoft.com/office/drawing/2014/main" id="{1757252F-3B29-8475-E389-95F6B61261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1419" y="1546752"/>
            <a:ext cx="6088181" cy="4305300"/>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5" name="TextBox 4">
            <a:extLst>
              <a:ext uri="{FF2B5EF4-FFF2-40B4-BE49-F238E27FC236}">
                <a16:creationId xmlns:a16="http://schemas.microsoft.com/office/drawing/2014/main" id="{AD271B2F-57B1-DDF3-844C-402D53D67F69}"/>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7" name="Picture 6">
            <a:extLst>
              <a:ext uri="{FF2B5EF4-FFF2-40B4-BE49-F238E27FC236}">
                <a16:creationId xmlns:a16="http://schemas.microsoft.com/office/drawing/2014/main" id="{D14096BA-AD1E-23A8-AD0D-C3928BE2A7E2}"/>
              </a:ext>
            </a:extLst>
          </p:cNvPr>
          <p:cNvPicPr preferRelativeResize="0"/>
          <p:nvPr/>
        </p:nvPicPr>
        <p:blipFill>
          <a:blip r:embed="rId2"/>
          <a:stretch>
            <a:fillRect/>
          </a:stretch>
        </p:blipFill>
        <p:spPr>
          <a:xfrm>
            <a:off x="152400" y="1638300"/>
            <a:ext cx="5691591" cy="4076700"/>
          </a:xfrm>
          <a:prstGeom prst="rect">
            <a:avLst/>
          </a:prstGeom>
        </p:spPr>
      </p:pic>
      <p:pic>
        <p:nvPicPr>
          <p:cNvPr id="8" name="Picture 7" descr="Map&#10;&#10;Description automatically generated">
            <a:extLst>
              <a:ext uri="{FF2B5EF4-FFF2-40B4-BE49-F238E27FC236}">
                <a16:creationId xmlns:a16="http://schemas.microsoft.com/office/drawing/2014/main" id="{3208DB1A-4C93-5F29-7473-2B38FE81B6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1421" y="1524000"/>
            <a:ext cx="6088180" cy="4305300"/>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C27854A9-7FCE-43A9-553B-D762F8A73A68}"/>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9" name="TextBox 8">
            <a:extLst>
              <a:ext uri="{FF2B5EF4-FFF2-40B4-BE49-F238E27FC236}">
                <a16:creationId xmlns:a16="http://schemas.microsoft.com/office/drawing/2014/main" id="{7186EF87-E728-D13E-4ADB-699D1D4C319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5" name="Picture 4">
            <a:extLst>
              <a:ext uri="{FF2B5EF4-FFF2-40B4-BE49-F238E27FC236}">
                <a16:creationId xmlns:a16="http://schemas.microsoft.com/office/drawing/2014/main" id="{D8767897-3DB3-EF75-EECA-D4AC43E3B348}"/>
              </a:ext>
            </a:extLst>
          </p:cNvPr>
          <p:cNvPicPr preferRelativeResize="0"/>
          <p:nvPr/>
        </p:nvPicPr>
        <p:blipFill>
          <a:blip r:embed="rId2"/>
          <a:stretch>
            <a:fillRect/>
          </a:stretch>
        </p:blipFill>
        <p:spPr>
          <a:xfrm>
            <a:off x="148659" y="1638300"/>
            <a:ext cx="5691591" cy="4076700"/>
          </a:xfrm>
          <a:prstGeom prst="rect">
            <a:avLst/>
          </a:prstGeom>
        </p:spPr>
      </p:pic>
      <p:pic>
        <p:nvPicPr>
          <p:cNvPr id="7" name="Picture 6" descr="Chart, map&#10;&#10;Description automatically generated">
            <a:extLst>
              <a:ext uri="{FF2B5EF4-FFF2-40B4-BE49-F238E27FC236}">
                <a16:creationId xmlns:a16="http://schemas.microsoft.com/office/drawing/2014/main" id="{3C3AE6AC-5BD0-DAE5-DA9E-0BC34FA752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5161" y="1524000"/>
            <a:ext cx="6088180" cy="4305300"/>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A5D33766-46A0-2BE0-082D-5E002B5DC245}"/>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A5B2951-37EF-EDA2-29E7-6EDD0A50F6C4}"/>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4886175-6452-21CC-C3D3-7A24CCDF6EEF}"/>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08861" y="1812324"/>
            <a:ext cx="1198148" cy="2091613"/>
            <a:chOff x="8040444" y="2992125"/>
            <a:chExt cx="1198148" cy="2091613"/>
          </a:xfrm>
        </p:grpSpPr>
        <p:sp>
          <p:nvSpPr>
            <p:cNvPr id="21" name="TextBox 20">
              <a:extLst>
                <a:ext uri="{FF2B5EF4-FFF2-40B4-BE49-F238E27FC236}">
                  <a16:creationId xmlns:a16="http://schemas.microsoft.com/office/drawing/2014/main" id="{9A68ADBE-AECC-EE60-7E94-3675B33E08AE}"/>
                </a:ext>
              </a:extLst>
            </p:cNvPr>
            <p:cNvSpPr txBox="1"/>
            <p:nvPr/>
          </p:nvSpPr>
          <p:spPr>
            <a:xfrm>
              <a:off x="8040444" y="365586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1</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50837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29921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a:endCxn id="21" idx="0"/>
            </p:cNvCxnSpPr>
            <p:nvPr/>
          </p:nvCxnSpPr>
          <p:spPr>
            <a:xfrm>
              <a:off x="8639518" y="2992125"/>
              <a:ext cx="0" cy="66373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39518" y="4548415"/>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27315" y="2279951"/>
            <a:ext cx="1198148" cy="1785888"/>
            <a:chOff x="10466695" y="2638512"/>
            <a:chExt cx="1198148" cy="1785888"/>
          </a:xfrm>
        </p:grpSpPr>
        <p:sp>
          <p:nvSpPr>
            <p:cNvPr id="11" name="TextBox 10">
              <a:extLst>
                <a:ext uri="{FF2B5EF4-FFF2-40B4-BE49-F238E27FC236}">
                  <a16:creationId xmlns:a16="http://schemas.microsoft.com/office/drawing/2014/main" id="{09F5AE19-B4E3-7788-F25F-CDA80D596DAF}"/>
                </a:ext>
              </a:extLst>
            </p:cNvPr>
            <p:cNvSpPr txBox="1"/>
            <p:nvPr/>
          </p:nvSpPr>
          <p:spPr>
            <a:xfrm>
              <a:off x="10466695" y="296028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8.1</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11087" y="44244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14125" y="263851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p:cNvCxnSpPr>
            <p:nvPr/>
          </p:nvCxnSpPr>
          <p:spPr>
            <a:xfrm>
              <a:off x="11065769" y="2638512"/>
              <a:ext cx="0" cy="34082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65769" y="3852836"/>
              <a:ext cx="0" cy="5715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544C5FCC-07AB-49ED-2B8F-F8E9BA77F772}"/>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6B3F1F85-F9F7-BBFC-AE22-8AE62FF01447}"/>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9D6E7851-FA8B-C1DF-8C3A-2C2CAC5F0419}"/>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8263F738-B649-51AE-872B-15894D398D1F}"/>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E38F184F-5FA3-C90D-C1AF-143394AA6717}"/>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C5D9CC04-2D24-2AE7-7F3A-4B685E9DD1F7}"/>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FFA87338-1A48-818F-D96F-C8CA8D773EBE}"/>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1535751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23765E59-70D0-21B3-E568-19A043EE700F}"/>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4516233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75</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54</cp:revision>
  <dcterms:created xsi:type="dcterms:W3CDTF">2022-07-04T13:32:28Z</dcterms:created>
  <dcterms:modified xsi:type="dcterms:W3CDTF">2023-03-05T13:49:10Z</dcterms:modified>
</cp:coreProperties>
</file>